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7"/>
  </p:notesMasterIdLst>
  <p:handoutMasterIdLst>
    <p:handoutMasterId r:id="rId18"/>
  </p:handoutMasterIdLst>
  <p:sldIdLst>
    <p:sldId id="1229" r:id="rId2"/>
    <p:sldId id="1322" r:id="rId3"/>
    <p:sldId id="1324" r:id="rId4"/>
    <p:sldId id="1321" r:id="rId5"/>
    <p:sldId id="1327" r:id="rId6"/>
    <p:sldId id="1323" r:id="rId7"/>
    <p:sldId id="1334" r:id="rId8"/>
    <p:sldId id="1325" r:id="rId9"/>
    <p:sldId id="1328" r:id="rId10"/>
    <p:sldId id="1329" r:id="rId11"/>
    <p:sldId id="1330" r:id="rId12"/>
    <p:sldId id="1331" r:id="rId13"/>
    <p:sldId id="1332" r:id="rId14"/>
    <p:sldId id="1333" r:id="rId15"/>
    <p:sldId id="1335" r:id="rId16"/>
  </p:sldIdLst>
  <p:sldSz cx="9906000" cy="6858000" type="A4"/>
  <p:notesSz cx="6794500" cy="9931400"/>
  <p:custShowLst>
    <p:custShow name="Custom Show 1" id="0">
      <p:sldLst/>
    </p:custShow>
  </p:custShowLst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95252" autoAdjust="0"/>
  </p:normalViewPr>
  <p:slideViewPr>
    <p:cSldViewPr>
      <p:cViewPr>
        <p:scale>
          <a:sx n="100" d="100"/>
          <a:sy n="100" d="100"/>
        </p:scale>
        <p:origin x="-1216" y="64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gs" Target="tags/tag1.xml"/><Relationship Id="rId21" Type="http://schemas.openxmlformats.org/officeDocument/2006/relationships/commentAuthors" Target="commentAuthors.xml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CCHI:Desktop:dati%20per%20cina:child%20poverty_selected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CCHI:Desktop:dati%20per%20cina:GDP%20growth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CCHI:Desktop:dati%20per%20cina:empl%20rates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CCHI:Desktop:dati%20per%20cina:youth%20unemployment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oglio1!$A$6</c:f>
              <c:strCache>
                <c:ptCount val="1"/>
                <c:pt idx="0">
                  <c:v>European Union</c:v>
                </c:pt>
              </c:strCache>
            </c:strRef>
          </c:tx>
          <c:marker>
            <c:symbol val="none"/>
          </c:marker>
          <c:cat>
            <c:strRef>
              <c:f>Foglio1!$B$5:$J$5</c:f>
              <c:strCach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strCache>
            </c:strRef>
          </c:cat>
          <c:val>
            <c:numRef>
              <c:f>Foglio1!$B$6:$J$6</c:f>
              <c:numCache>
                <c:formatCode>#,##0.0</c:formatCode>
                <c:ptCount val="9"/>
                <c:pt idx="0">
                  <c:v>29.5</c:v>
                </c:pt>
                <c:pt idx="1">
                  <c:v>28.4</c:v>
                </c:pt>
                <c:pt idx="2">
                  <c:v>28.3</c:v>
                </c:pt>
                <c:pt idx="3">
                  <c:v>27.8</c:v>
                </c:pt>
                <c:pt idx="4">
                  <c:v>29.3</c:v>
                </c:pt>
                <c:pt idx="5">
                  <c:v>29.7</c:v>
                </c:pt>
                <c:pt idx="6">
                  <c:v>31.3</c:v>
                </c:pt>
                <c:pt idx="7">
                  <c:v>31.6</c:v>
                </c:pt>
                <c:pt idx="8">
                  <c:v>31.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oglio1!$A$7</c:f>
              <c:strCache>
                <c:ptCount val="1"/>
                <c:pt idx="0">
                  <c:v>Euro area</c:v>
                </c:pt>
              </c:strCache>
            </c:strRef>
          </c:tx>
          <c:marker>
            <c:symbol val="none"/>
          </c:marker>
          <c:cat>
            <c:strRef>
              <c:f>Foglio1!$B$5:$J$5</c:f>
              <c:strCach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strCache>
            </c:strRef>
          </c:cat>
          <c:val>
            <c:numRef>
              <c:f>Foglio1!$B$7:$J$7</c:f>
              <c:numCache>
                <c:formatCode>#,##0.0</c:formatCode>
                <c:ptCount val="9"/>
                <c:pt idx="0">
                  <c:v>25.6</c:v>
                </c:pt>
                <c:pt idx="1">
                  <c:v>25.6</c:v>
                </c:pt>
                <c:pt idx="2">
                  <c:v>26.4</c:v>
                </c:pt>
                <c:pt idx="3">
                  <c:v>26.4</c:v>
                </c:pt>
                <c:pt idx="4">
                  <c:v>27.9</c:v>
                </c:pt>
                <c:pt idx="5">
                  <c:v>28.4</c:v>
                </c:pt>
                <c:pt idx="6">
                  <c:v>29.5</c:v>
                </c:pt>
                <c:pt idx="7">
                  <c:v>29.9</c:v>
                </c:pt>
                <c:pt idx="8">
                  <c:v>30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oglio1!$A$8</c:f>
              <c:strCache>
                <c:ptCount val="1"/>
                <c:pt idx="0">
                  <c:v>Denmark</c:v>
                </c:pt>
              </c:strCache>
            </c:strRef>
          </c:tx>
          <c:marker>
            <c:symbol val="none"/>
          </c:marker>
          <c:cat>
            <c:strRef>
              <c:f>Foglio1!$B$5:$J$5</c:f>
              <c:strCach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strCache>
            </c:strRef>
          </c:cat>
          <c:val>
            <c:numRef>
              <c:f>Foglio1!$B$8:$J$8</c:f>
              <c:numCache>
                <c:formatCode>#,##0.0</c:formatCode>
                <c:ptCount val="9"/>
                <c:pt idx="0">
                  <c:v>31.7</c:v>
                </c:pt>
                <c:pt idx="1">
                  <c:v>32.9</c:v>
                </c:pt>
                <c:pt idx="2">
                  <c:v>30.3</c:v>
                </c:pt>
                <c:pt idx="3">
                  <c:v>31.9</c:v>
                </c:pt>
                <c:pt idx="4">
                  <c:v>35.3</c:v>
                </c:pt>
                <c:pt idx="5">
                  <c:v>32.8</c:v>
                </c:pt>
                <c:pt idx="6">
                  <c:v>35.7</c:v>
                </c:pt>
                <c:pt idx="7">
                  <c:v>38.5</c:v>
                </c:pt>
                <c:pt idx="8">
                  <c:v>38.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Foglio1!$A$9</c:f>
              <c:strCache>
                <c:ptCount val="1"/>
                <c:pt idx="0">
                  <c:v>Germany</c:v>
                </c:pt>
              </c:strCache>
            </c:strRef>
          </c:tx>
          <c:marker>
            <c:symbol val="none"/>
          </c:marker>
          <c:cat>
            <c:strRef>
              <c:f>Foglio1!$B$5:$J$5</c:f>
              <c:strCach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strCache>
            </c:strRef>
          </c:cat>
          <c:val>
            <c:numRef>
              <c:f>Foglio1!$B$9:$J$9</c:f>
              <c:numCache>
                <c:formatCode>#,##0.0</c:formatCode>
                <c:ptCount val="9"/>
                <c:pt idx="0">
                  <c:v>23.4</c:v>
                </c:pt>
                <c:pt idx="1">
                  <c:v>24.9</c:v>
                </c:pt>
                <c:pt idx="2">
                  <c:v>24.7</c:v>
                </c:pt>
                <c:pt idx="3">
                  <c:v>24.9</c:v>
                </c:pt>
                <c:pt idx="4">
                  <c:v>23.9</c:v>
                </c:pt>
                <c:pt idx="5">
                  <c:v>23.4</c:v>
                </c:pt>
                <c:pt idx="6">
                  <c:v>24.3</c:v>
                </c:pt>
                <c:pt idx="7">
                  <c:v>24.6</c:v>
                </c:pt>
                <c:pt idx="8">
                  <c:v>23.9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Foglio1!$A$10</c:f>
              <c:strCache>
                <c:ptCount val="1"/>
                <c:pt idx="0">
                  <c:v>Spain</c:v>
                </c:pt>
              </c:strCache>
            </c:strRef>
          </c:tx>
          <c:marker>
            <c:symbol val="none"/>
          </c:marker>
          <c:cat>
            <c:strRef>
              <c:f>Foglio1!$B$5:$J$5</c:f>
              <c:strCach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strCache>
            </c:strRef>
          </c:cat>
          <c:val>
            <c:numRef>
              <c:f>Foglio1!$B$10:$J$10</c:f>
              <c:numCache>
                <c:formatCode>#,##0.0</c:formatCode>
                <c:ptCount val="9"/>
                <c:pt idx="0">
                  <c:v>23.4</c:v>
                </c:pt>
                <c:pt idx="1">
                  <c:v>23.7</c:v>
                </c:pt>
                <c:pt idx="2">
                  <c:v>26.0</c:v>
                </c:pt>
                <c:pt idx="3">
                  <c:v>26.7</c:v>
                </c:pt>
                <c:pt idx="4">
                  <c:v>30.9</c:v>
                </c:pt>
                <c:pt idx="5">
                  <c:v>32.2</c:v>
                </c:pt>
                <c:pt idx="6">
                  <c:v>36.6</c:v>
                </c:pt>
                <c:pt idx="7">
                  <c:v>36.9</c:v>
                </c:pt>
                <c:pt idx="8">
                  <c:v>38.7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Foglio1!$A$11</c:f>
              <c:strCache>
                <c:ptCount val="1"/>
                <c:pt idx="0">
                  <c:v>France</c:v>
                </c:pt>
              </c:strCache>
            </c:strRef>
          </c:tx>
          <c:marker>
            <c:symbol val="none"/>
          </c:marker>
          <c:cat>
            <c:strRef>
              <c:f>Foglio1!$B$5:$J$5</c:f>
              <c:strCach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strCache>
            </c:strRef>
          </c:cat>
          <c:val>
            <c:numRef>
              <c:f>Foglio1!$B$11:$J$11</c:f>
              <c:numCache>
                <c:formatCode>#,##0.0</c:formatCode>
                <c:ptCount val="9"/>
                <c:pt idx="0">
                  <c:v>25.0</c:v>
                </c:pt>
                <c:pt idx="1">
                  <c:v>25.9</c:v>
                </c:pt>
                <c:pt idx="2">
                  <c:v>26.6</c:v>
                </c:pt>
                <c:pt idx="3">
                  <c:v>26.6</c:v>
                </c:pt>
                <c:pt idx="4">
                  <c:v>28.5</c:v>
                </c:pt>
                <c:pt idx="5">
                  <c:v>28.4</c:v>
                </c:pt>
                <c:pt idx="6">
                  <c:v>27.5</c:v>
                </c:pt>
                <c:pt idx="7">
                  <c:v>27.5</c:v>
                </c:pt>
                <c:pt idx="8">
                  <c:v>26.2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Foglio1!$A$12</c:f>
              <c:strCache>
                <c:ptCount val="1"/>
                <c:pt idx="0">
                  <c:v>Italy</c:v>
                </c:pt>
              </c:strCache>
            </c:strRef>
          </c:tx>
          <c:marker>
            <c:symbol val="none"/>
          </c:marker>
          <c:cat>
            <c:strRef>
              <c:f>Foglio1!$B$5:$J$5</c:f>
              <c:strCach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strCache>
            </c:strRef>
          </c:cat>
          <c:val>
            <c:numRef>
              <c:f>Foglio1!$B$12:$J$12</c:f>
              <c:numCache>
                <c:formatCode>#,##0.0</c:formatCode>
                <c:ptCount val="9"/>
                <c:pt idx="0">
                  <c:v>31.6</c:v>
                </c:pt>
                <c:pt idx="1">
                  <c:v>31.1</c:v>
                </c:pt>
                <c:pt idx="2">
                  <c:v>31.6</c:v>
                </c:pt>
                <c:pt idx="3">
                  <c:v>30.3</c:v>
                </c:pt>
                <c:pt idx="4">
                  <c:v>32.1</c:v>
                </c:pt>
                <c:pt idx="5">
                  <c:v>34.0</c:v>
                </c:pt>
                <c:pt idx="6">
                  <c:v>36.5</c:v>
                </c:pt>
                <c:pt idx="7">
                  <c:v>36.1</c:v>
                </c:pt>
                <c:pt idx="8">
                  <c:v>36.5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Foglio1!$A$13</c:f>
              <c:strCache>
                <c:ptCount val="1"/>
                <c:pt idx="0">
                  <c:v>Netherlands</c:v>
                </c:pt>
              </c:strCache>
            </c:strRef>
          </c:tx>
          <c:marker>
            <c:symbol val="none"/>
          </c:marker>
          <c:cat>
            <c:strRef>
              <c:f>Foglio1!$B$5:$J$5</c:f>
              <c:strCach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strCache>
            </c:strRef>
          </c:cat>
          <c:val>
            <c:numRef>
              <c:f>Foglio1!$B$13:$J$13</c:f>
              <c:numCache>
                <c:formatCode>#,##0.0</c:formatCode>
                <c:ptCount val="9"/>
                <c:pt idx="0">
                  <c:v>23.1</c:v>
                </c:pt>
                <c:pt idx="1">
                  <c:v>21.7</c:v>
                </c:pt>
                <c:pt idx="2">
                  <c:v>22.6</c:v>
                </c:pt>
                <c:pt idx="3">
                  <c:v>25.0</c:v>
                </c:pt>
                <c:pt idx="4">
                  <c:v>26.7</c:v>
                </c:pt>
                <c:pt idx="5">
                  <c:v>25.1</c:v>
                </c:pt>
                <c:pt idx="6">
                  <c:v>22.3</c:v>
                </c:pt>
                <c:pt idx="7">
                  <c:v>25.7</c:v>
                </c:pt>
                <c:pt idx="8">
                  <c:v>26.2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Foglio1!$A$14</c:f>
              <c:strCache>
                <c:ptCount val="1"/>
                <c:pt idx="0">
                  <c:v>Finland</c:v>
                </c:pt>
              </c:strCache>
            </c:strRef>
          </c:tx>
          <c:marker>
            <c:symbol val="none"/>
          </c:marker>
          <c:cat>
            <c:strRef>
              <c:f>Foglio1!$B$5:$J$5</c:f>
              <c:strCach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strCache>
            </c:strRef>
          </c:cat>
          <c:val>
            <c:numRef>
              <c:f>Foglio1!$B$14:$J$14</c:f>
              <c:numCache>
                <c:formatCode>#,##0.0</c:formatCode>
                <c:ptCount val="9"/>
                <c:pt idx="0">
                  <c:v>26.4</c:v>
                </c:pt>
                <c:pt idx="1">
                  <c:v>24.7</c:v>
                </c:pt>
                <c:pt idx="2">
                  <c:v>26.4</c:v>
                </c:pt>
                <c:pt idx="3">
                  <c:v>25.5</c:v>
                </c:pt>
                <c:pt idx="4">
                  <c:v>27.1</c:v>
                </c:pt>
                <c:pt idx="5">
                  <c:v>26.5</c:v>
                </c:pt>
                <c:pt idx="6">
                  <c:v>25.3</c:v>
                </c:pt>
                <c:pt idx="7">
                  <c:v>24.7</c:v>
                </c:pt>
                <c:pt idx="8">
                  <c:v>27.2</c:v>
                </c:pt>
              </c:numCache>
            </c:numRef>
          </c:val>
          <c:smooth val="0"/>
        </c:ser>
        <c:ser>
          <c:idx val="9"/>
          <c:order val="9"/>
          <c:tx>
            <c:strRef>
              <c:f>Foglio1!$A$15</c:f>
              <c:strCache>
                <c:ptCount val="1"/>
                <c:pt idx="0">
                  <c:v>United Kingdom</c:v>
                </c:pt>
              </c:strCache>
            </c:strRef>
          </c:tx>
          <c:marker>
            <c:symbol val="none"/>
          </c:marker>
          <c:cat>
            <c:strRef>
              <c:f>Foglio1!$B$5:$J$5</c:f>
              <c:strCach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strCache>
            </c:strRef>
          </c:cat>
          <c:val>
            <c:numRef>
              <c:f>Foglio1!$B$15:$J$15</c:f>
              <c:numCache>
                <c:formatCode>#,##0.0</c:formatCode>
                <c:ptCount val="9"/>
                <c:pt idx="0">
                  <c:v>26.8</c:v>
                </c:pt>
                <c:pt idx="1">
                  <c:v>23.6</c:v>
                </c:pt>
                <c:pt idx="2">
                  <c:v>26.0</c:v>
                </c:pt>
                <c:pt idx="3">
                  <c:v>24.9</c:v>
                </c:pt>
                <c:pt idx="4">
                  <c:v>28.3</c:v>
                </c:pt>
                <c:pt idx="5">
                  <c:v>28.2</c:v>
                </c:pt>
                <c:pt idx="6">
                  <c:v>32.6</c:v>
                </c:pt>
                <c:pt idx="7">
                  <c:v>32.5</c:v>
                </c:pt>
                <c:pt idx="8">
                  <c:v>33.1</c:v>
                </c:pt>
              </c:numCache>
            </c:numRef>
          </c:val>
          <c:smooth val="0"/>
        </c:ser>
        <c:ser>
          <c:idx val="10"/>
          <c:order val="10"/>
          <c:tx>
            <c:strRef>
              <c:f>Foglio1!$A$16</c:f>
              <c:strCache>
                <c:ptCount val="1"/>
                <c:pt idx="0">
                  <c:v>Ireland</c:v>
                </c:pt>
              </c:strCache>
            </c:strRef>
          </c:tx>
          <c:marker>
            <c:symbol val="none"/>
          </c:marker>
          <c:cat>
            <c:strRef>
              <c:f>Foglio1!$B$5:$J$5</c:f>
              <c:strCach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strCache>
            </c:strRef>
          </c:cat>
          <c:val>
            <c:numRef>
              <c:f>Foglio1!$B$16:$J$16</c:f>
              <c:numCache>
                <c:formatCode>#,##0.0</c:formatCode>
                <c:ptCount val="9"/>
                <c:pt idx="0">
                  <c:v>24.2</c:v>
                </c:pt>
                <c:pt idx="1">
                  <c:v>24.7</c:v>
                </c:pt>
                <c:pt idx="2">
                  <c:v>23.5</c:v>
                </c:pt>
                <c:pt idx="3">
                  <c:v>27.5</c:v>
                </c:pt>
                <c:pt idx="4">
                  <c:v>32.2</c:v>
                </c:pt>
                <c:pt idx="5">
                  <c:v>40.4</c:v>
                </c:pt>
                <c:pt idx="6">
                  <c:v>43.3</c:v>
                </c:pt>
                <c:pt idx="7">
                  <c:v>38.8</c:v>
                </c:pt>
                <c:pt idx="8">
                  <c:v>42.0</c:v>
                </c:pt>
              </c:numCache>
            </c:numRef>
          </c:val>
          <c:smooth val="0"/>
        </c:ser>
        <c:ser>
          <c:idx val="11"/>
          <c:order val="11"/>
          <c:tx>
            <c:strRef>
              <c:f>Foglio1!$A$17</c:f>
              <c:strCache>
                <c:ptCount val="1"/>
                <c:pt idx="0">
                  <c:v>Portugal</c:v>
                </c:pt>
              </c:strCache>
            </c:strRef>
          </c:tx>
          <c:marker>
            <c:symbol val="none"/>
          </c:marker>
          <c:cat>
            <c:strRef>
              <c:f>Foglio1!$B$5:$J$5</c:f>
              <c:strCach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strCache>
            </c:strRef>
          </c:cat>
          <c:val>
            <c:numRef>
              <c:f>Foglio1!$B$17:$J$17</c:f>
              <c:numCache>
                <c:formatCode>#,##0.0</c:formatCode>
                <c:ptCount val="9"/>
                <c:pt idx="0">
                  <c:v>24.1</c:v>
                </c:pt>
                <c:pt idx="1">
                  <c:v>25.8</c:v>
                </c:pt>
                <c:pt idx="2">
                  <c:v>28.6</c:v>
                </c:pt>
                <c:pt idx="3">
                  <c:v>28.2</c:v>
                </c:pt>
                <c:pt idx="4">
                  <c:v>29.2</c:v>
                </c:pt>
                <c:pt idx="5">
                  <c:v>28.5</c:v>
                </c:pt>
                <c:pt idx="6">
                  <c:v>31.8</c:v>
                </c:pt>
                <c:pt idx="7">
                  <c:v>34.2</c:v>
                </c:pt>
                <c:pt idx="8">
                  <c:v>34.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44041032"/>
        <c:axId val="-2143654600"/>
      </c:lineChart>
      <c:catAx>
        <c:axId val="-2144041032"/>
        <c:scaling>
          <c:orientation val="minMax"/>
        </c:scaling>
        <c:delete val="0"/>
        <c:axPos val="b"/>
        <c:majorTickMark val="out"/>
        <c:minorTickMark val="none"/>
        <c:tickLblPos val="nextTo"/>
        <c:crossAx val="-2143654600"/>
        <c:crosses val="autoZero"/>
        <c:auto val="1"/>
        <c:lblAlgn val="ctr"/>
        <c:lblOffset val="100"/>
        <c:noMultiLvlLbl val="0"/>
      </c:catAx>
      <c:valAx>
        <c:axId val="-2143654600"/>
        <c:scaling>
          <c:orientation val="minMax"/>
          <c:min val="20.0"/>
        </c:scaling>
        <c:delete val="0"/>
        <c:axPos val="l"/>
        <c:majorGridlines/>
        <c:numFmt formatCode="#,##0.0" sourceLinked="1"/>
        <c:majorTickMark val="out"/>
        <c:minorTickMark val="none"/>
        <c:tickLblPos val="nextTo"/>
        <c:crossAx val="-2144041032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0!$A$4</c:f>
              <c:strCache>
                <c:ptCount val="1"/>
                <c:pt idx="0">
                  <c:v>EU</c:v>
                </c:pt>
              </c:strCache>
            </c:strRef>
          </c:tx>
          <c:marker>
            <c:symbol val="none"/>
          </c:marker>
          <c:cat>
            <c:strRef>
              <c:f>Sheet0!$B$3:$G$3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strCache>
            </c:strRef>
          </c:cat>
          <c:val>
            <c:numRef>
              <c:f>Sheet0!$B$4:$G$4</c:f>
              <c:numCache>
                <c:formatCode>General</c:formatCode>
                <c:ptCount val="6"/>
                <c:pt idx="0">
                  <c:v>2.1</c:v>
                </c:pt>
                <c:pt idx="1">
                  <c:v>1.7</c:v>
                </c:pt>
                <c:pt idx="2">
                  <c:v>-0.5</c:v>
                </c:pt>
                <c:pt idx="3">
                  <c:v>0.2</c:v>
                </c:pt>
                <c:pt idx="4">
                  <c:v>1.5</c:v>
                </c:pt>
                <c:pt idx="5">
                  <c:v>2.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0!$A$5</c:f>
              <c:strCache>
                <c:ptCount val="1"/>
                <c:pt idx="0">
                  <c:v>Euro area</c:v>
                </c:pt>
              </c:strCache>
            </c:strRef>
          </c:tx>
          <c:marker>
            <c:symbol val="none"/>
          </c:marker>
          <c:cat>
            <c:strRef>
              <c:f>Sheet0!$B$3:$G$3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strCache>
            </c:strRef>
          </c:cat>
          <c:val>
            <c:numRef>
              <c:f>Sheet0!$B$5:$G$5</c:f>
              <c:numCache>
                <c:formatCode>General</c:formatCode>
                <c:ptCount val="6"/>
                <c:pt idx="0">
                  <c:v>2.1</c:v>
                </c:pt>
                <c:pt idx="1">
                  <c:v>1.5</c:v>
                </c:pt>
                <c:pt idx="2">
                  <c:v>-0.9</c:v>
                </c:pt>
                <c:pt idx="3">
                  <c:v>-0.3</c:v>
                </c:pt>
                <c:pt idx="4">
                  <c:v>1.1</c:v>
                </c:pt>
                <c:pt idx="5">
                  <c:v>2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0!$A$6</c:f>
              <c:strCache>
                <c:ptCount val="1"/>
                <c:pt idx="0">
                  <c:v>Denmark</c:v>
                </c:pt>
              </c:strCache>
            </c:strRef>
          </c:tx>
          <c:marker>
            <c:symbol val="none"/>
          </c:marker>
          <c:cat>
            <c:strRef>
              <c:f>Sheet0!$B$3:$G$3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strCache>
            </c:strRef>
          </c:cat>
          <c:val>
            <c:numRef>
              <c:f>Sheet0!$B$6:$G$6</c:f>
              <c:numCache>
                <c:formatCode>General</c:formatCode>
                <c:ptCount val="6"/>
                <c:pt idx="0">
                  <c:v>1.6</c:v>
                </c:pt>
                <c:pt idx="1">
                  <c:v>1.2</c:v>
                </c:pt>
                <c:pt idx="2">
                  <c:v>-0.1</c:v>
                </c:pt>
                <c:pt idx="3">
                  <c:v>-0.2</c:v>
                </c:pt>
                <c:pt idx="4">
                  <c:v>1.3</c:v>
                </c:pt>
                <c:pt idx="5">
                  <c:v>1.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0!$A$7</c:f>
              <c:strCache>
                <c:ptCount val="1"/>
                <c:pt idx="0">
                  <c:v>Germany</c:v>
                </c:pt>
              </c:strCache>
            </c:strRef>
          </c:tx>
          <c:marker>
            <c:symbol val="none"/>
          </c:marker>
          <c:cat>
            <c:strRef>
              <c:f>Sheet0!$B$3:$G$3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strCache>
            </c:strRef>
          </c:cat>
          <c:val>
            <c:numRef>
              <c:f>Sheet0!$B$7:$G$7</c:f>
              <c:numCache>
                <c:formatCode>General</c:formatCode>
                <c:ptCount val="6"/>
                <c:pt idx="0">
                  <c:v>4.1</c:v>
                </c:pt>
                <c:pt idx="1">
                  <c:v>3.7</c:v>
                </c:pt>
                <c:pt idx="2">
                  <c:v>0.5</c:v>
                </c:pt>
                <c:pt idx="3">
                  <c:v>0.5</c:v>
                </c:pt>
                <c:pt idx="4">
                  <c:v>1.6</c:v>
                </c:pt>
                <c:pt idx="5">
                  <c:v>1.7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0!$A$8</c:f>
              <c:strCache>
                <c:ptCount val="1"/>
                <c:pt idx="0">
                  <c:v>Spain</c:v>
                </c:pt>
              </c:strCache>
            </c:strRef>
          </c:tx>
          <c:marker>
            <c:symbol val="none"/>
          </c:marker>
          <c:cat>
            <c:strRef>
              <c:f>Sheet0!$B$3:$G$3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strCache>
            </c:strRef>
          </c:cat>
          <c:val>
            <c:numRef>
              <c:f>Sheet0!$B$8:$G$8</c:f>
              <c:numCache>
                <c:formatCode>General</c:formatCode>
                <c:ptCount val="6"/>
                <c:pt idx="0">
                  <c:v>0.0</c:v>
                </c:pt>
                <c:pt idx="1">
                  <c:v>-1.0</c:v>
                </c:pt>
                <c:pt idx="2">
                  <c:v>-2.9</c:v>
                </c:pt>
                <c:pt idx="3">
                  <c:v>-1.7</c:v>
                </c:pt>
                <c:pt idx="4">
                  <c:v>1.4</c:v>
                </c:pt>
                <c:pt idx="5">
                  <c:v>3.2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Sheet0!$A$9</c:f>
              <c:strCache>
                <c:ptCount val="1"/>
                <c:pt idx="0">
                  <c:v>France</c:v>
                </c:pt>
              </c:strCache>
            </c:strRef>
          </c:tx>
          <c:marker>
            <c:symbol val="none"/>
          </c:marker>
          <c:cat>
            <c:strRef>
              <c:f>Sheet0!$B$3:$G$3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strCache>
            </c:strRef>
          </c:cat>
          <c:val>
            <c:numRef>
              <c:f>Sheet0!$B$9:$G$9</c:f>
              <c:numCache>
                <c:formatCode>General</c:formatCode>
                <c:ptCount val="6"/>
                <c:pt idx="0">
                  <c:v>2.0</c:v>
                </c:pt>
                <c:pt idx="1">
                  <c:v>2.1</c:v>
                </c:pt>
                <c:pt idx="2">
                  <c:v>0.2</c:v>
                </c:pt>
                <c:pt idx="3">
                  <c:v>0.6</c:v>
                </c:pt>
                <c:pt idx="4">
                  <c:v>0.6</c:v>
                </c:pt>
                <c:pt idx="5">
                  <c:v>1.3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0!$A$10</c:f>
              <c:strCache>
                <c:ptCount val="1"/>
                <c:pt idx="0">
                  <c:v>Italy</c:v>
                </c:pt>
              </c:strCache>
            </c:strRef>
          </c:tx>
          <c:marker>
            <c:symbol val="none"/>
          </c:marker>
          <c:cat>
            <c:strRef>
              <c:f>Sheet0!$B$3:$G$3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strCache>
            </c:strRef>
          </c:cat>
          <c:val>
            <c:numRef>
              <c:f>Sheet0!$B$10:$G$10</c:f>
              <c:numCache>
                <c:formatCode>General</c:formatCode>
                <c:ptCount val="6"/>
                <c:pt idx="0">
                  <c:v>1.7</c:v>
                </c:pt>
                <c:pt idx="1">
                  <c:v>0.6</c:v>
                </c:pt>
                <c:pt idx="2">
                  <c:v>-2.8</c:v>
                </c:pt>
                <c:pt idx="3">
                  <c:v>-1.7</c:v>
                </c:pt>
                <c:pt idx="4">
                  <c:v>-0.3</c:v>
                </c:pt>
                <c:pt idx="5">
                  <c:v>0.8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Sheet0!$A$11</c:f>
              <c:strCache>
                <c:ptCount val="1"/>
                <c:pt idx="0">
                  <c:v>Netherlands</c:v>
                </c:pt>
              </c:strCache>
            </c:strRef>
          </c:tx>
          <c:marker>
            <c:symbol val="none"/>
          </c:marker>
          <c:cat>
            <c:strRef>
              <c:f>Sheet0!$B$3:$G$3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strCache>
            </c:strRef>
          </c:cat>
          <c:val>
            <c:numRef>
              <c:f>Sheet0!$B$11:$G$11</c:f>
              <c:numCache>
                <c:formatCode>General</c:formatCode>
                <c:ptCount val="6"/>
                <c:pt idx="0">
                  <c:v>1.4</c:v>
                </c:pt>
                <c:pt idx="1">
                  <c:v>1.7</c:v>
                </c:pt>
                <c:pt idx="2">
                  <c:v>-1.1</c:v>
                </c:pt>
                <c:pt idx="3">
                  <c:v>-0.2</c:v>
                </c:pt>
                <c:pt idx="4">
                  <c:v>1.4</c:v>
                </c:pt>
                <c:pt idx="5">
                  <c:v>2.0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Sheet0!$A$12</c:f>
              <c:strCache>
                <c:ptCount val="1"/>
                <c:pt idx="0">
                  <c:v>Finland</c:v>
                </c:pt>
              </c:strCache>
            </c:strRef>
          </c:tx>
          <c:marker>
            <c:symbol val="none"/>
          </c:marker>
          <c:cat>
            <c:strRef>
              <c:f>Sheet0!$B$3:$G$3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strCache>
            </c:strRef>
          </c:cat>
          <c:val>
            <c:numRef>
              <c:f>Sheet0!$B$12:$G$12</c:f>
              <c:numCache>
                <c:formatCode>General</c:formatCode>
                <c:ptCount val="6"/>
                <c:pt idx="0">
                  <c:v>3.0</c:v>
                </c:pt>
                <c:pt idx="1">
                  <c:v>2.6</c:v>
                </c:pt>
                <c:pt idx="2">
                  <c:v>-1.4</c:v>
                </c:pt>
                <c:pt idx="3">
                  <c:v>-0.8</c:v>
                </c:pt>
                <c:pt idx="4">
                  <c:v>-0.7</c:v>
                </c:pt>
                <c:pt idx="5">
                  <c:v>0.2</c:v>
                </c:pt>
              </c:numCache>
            </c:numRef>
          </c:val>
          <c:smooth val="0"/>
        </c:ser>
        <c:ser>
          <c:idx val="9"/>
          <c:order val="9"/>
          <c:tx>
            <c:strRef>
              <c:f>Sheet0!$A$13</c:f>
              <c:strCache>
                <c:ptCount val="1"/>
                <c:pt idx="0">
                  <c:v>United Kingdom</c:v>
                </c:pt>
              </c:strCache>
            </c:strRef>
          </c:tx>
          <c:marker>
            <c:symbol val="none"/>
          </c:marker>
          <c:cat>
            <c:strRef>
              <c:f>Sheet0!$B$3:$G$3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strCache>
            </c:strRef>
          </c:cat>
          <c:val>
            <c:numRef>
              <c:f>Sheet0!$B$13:$G$13</c:f>
              <c:numCache>
                <c:formatCode>General</c:formatCode>
                <c:ptCount val="6"/>
                <c:pt idx="0">
                  <c:v>1.9</c:v>
                </c:pt>
                <c:pt idx="1">
                  <c:v>1.5</c:v>
                </c:pt>
                <c:pt idx="2">
                  <c:v>1.3</c:v>
                </c:pt>
                <c:pt idx="3">
                  <c:v>1.9</c:v>
                </c:pt>
                <c:pt idx="4">
                  <c:v>3.1</c:v>
                </c:pt>
                <c:pt idx="5">
                  <c:v>2.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43588952"/>
        <c:axId val="-2143586008"/>
      </c:lineChart>
      <c:catAx>
        <c:axId val="-21435889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-2143586008"/>
        <c:crosses val="autoZero"/>
        <c:auto val="1"/>
        <c:lblAlgn val="ctr"/>
        <c:lblOffset val="100"/>
        <c:noMultiLvlLbl val="0"/>
      </c:catAx>
      <c:valAx>
        <c:axId val="-214358600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-2143588952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oglio1!$A$2</c:f>
              <c:strCache>
                <c:ptCount val="1"/>
                <c:pt idx="0">
                  <c:v>European Union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2:$K$2</c:f>
              <c:numCache>
                <c:formatCode>#,##0.0</c:formatCode>
                <c:ptCount val="10"/>
                <c:pt idx="0">
                  <c:v>64.3</c:v>
                </c:pt>
                <c:pt idx="1">
                  <c:v>65.2</c:v>
                </c:pt>
                <c:pt idx="2">
                  <c:v>65.7</c:v>
                </c:pt>
                <c:pt idx="3">
                  <c:v>64.5</c:v>
                </c:pt>
                <c:pt idx="4">
                  <c:v>64.1</c:v>
                </c:pt>
                <c:pt idx="5">
                  <c:v>64.2</c:v>
                </c:pt>
                <c:pt idx="6">
                  <c:v>64.1</c:v>
                </c:pt>
                <c:pt idx="7">
                  <c:v>64.1</c:v>
                </c:pt>
                <c:pt idx="8">
                  <c:v>64.9</c:v>
                </c:pt>
                <c:pt idx="9">
                  <c:v>65.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oglio1!$A$3</c:f>
              <c:strCache>
                <c:ptCount val="1"/>
                <c:pt idx="0">
                  <c:v>Euro area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3:$K$3</c:f>
              <c:numCache>
                <c:formatCode>#,##0.0</c:formatCode>
                <c:ptCount val="10"/>
                <c:pt idx="0">
                  <c:v>64.5</c:v>
                </c:pt>
                <c:pt idx="1">
                  <c:v>65.5</c:v>
                </c:pt>
                <c:pt idx="2">
                  <c:v>65.8</c:v>
                </c:pt>
                <c:pt idx="3">
                  <c:v>64.4</c:v>
                </c:pt>
                <c:pt idx="4">
                  <c:v>64.0</c:v>
                </c:pt>
                <c:pt idx="5">
                  <c:v>64.1</c:v>
                </c:pt>
                <c:pt idx="6">
                  <c:v>63.7</c:v>
                </c:pt>
                <c:pt idx="7">
                  <c:v>63.4</c:v>
                </c:pt>
                <c:pt idx="8">
                  <c:v>63.9</c:v>
                </c:pt>
                <c:pt idx="9">
                  <c:v>64.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oglio1!$A$4</c:f>
              <c:strCache>
                <c:ptCount val="1"/>
                <c:pt idx="0">
                  <c:v>Denmark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4:$K$4</c:f>
              <c:numCache>
                <c:formatCode>#,##0.0</c:formatCode>
                <c:ptCount val="10"/>
                <c:pt idx="0">
                  <c:v>77.4</c:v>
                </c:pt>
                <c:pt idx="1">
                  <c:v>77.0</c:v>
                </c:pt>
                <c:pt idx="2">
                  <c:v>77.9</c:v>
                </c:pt>
                <c:pt idx="3">
                  <c:v>75.3</c:v>
                </c:pt>
                <c:pt idx="4">
                  <c:v>73.3</c:v>
                </c:pt>
                <c:pt idx="5">
                  <c:v>73.1</c:v>
                </c:pt>
                <c:pt idx="6">
                  <c:v>72.6</c:v>
                </c:pt>
                <c:pt idx="7">
                  <c:v>72.5</c:v>
                </c:pt>
                <c:pt idx="8">
                  <c:v>72.8</c:v>
                </c:pt>
                <c:pt idx="9">
                  <c:v>73.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Foglio1!$A$5</c:f>
              <c:strCache>
                <c:ptCount val="1"/>
                <c:pt idx="0">
                  <c:v>Germany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5:$K$5</c:f>
              <c:numCache>
                <c:formatCode>#,##0.0</c:formatCode>
                <c:ptCount val="10"/>
                <c:pt idx="0">
                  <c:v>67.2</c:v>
                </c:pt>
                <c:pt idx="1">
                  <c:v>69.0</c:v>
                </c:pt>
                <c:pt idx="2">
                  <c:v>70.1</c:v>
                </c:pt>
                <c:pt idx="3">
                  <c:v>70.3</c:v>
                </c:pt>
                <c:pt idx="4">
                  <c:v>71.3</c:v>
                </c:pt>
                <c:pt idx="5">
                  <c:v>72.7</c:v>
                </c:pt>
                <c:pt idx="6">
                  <c:v>73.0</c:v>
                </c:pt>
                <c:pt idx="7">
                  <c:v>73.5</c:v>
                </c:pt>
                <c:pt idx="8">
                  <c:v>73.8</c:v>
                </c:pt>
                <c:pt idx="9">
                  <c:v>74.0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Foglio1!$A$6</c:f>
              <c:strCache>
                <c:ptCount val="1"/>
                <c:pt idx="0">
                  <c:v>Spain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6:$K$6</c:f>
              <c:numCache>
                <c:formatCode>#,##0.0</c:formatCode>
                <c:ptCount val="10"/>
                <c:pt idx="0">
                  <c:v>65.0</c:v>
                </c:pt>
                <c:pt idx="1">
                  <c:v>65.8</c:v>
                </c:pt>
                <c:pt idx="2">
                  <c:v>64.5</c:v>
                </c:pt>
                <c:pt idx="3">
                  <c:v>60.0</c:v>
                </c:pt>
                <c:pt idx="4">
                  <c:v>58.8</c:v>
                </c:pt>
                <c:pt idx="5">
                  <c:v>58.0</c:v>
                </c:pt>
                <c:pt idx="6">
                  <c:v>55.8</c:v>
                </c:pt>
                <c:pt idx="7">
                  <c:v>54.8</c:v>
                </c:pt>
                <c:pt idx="8">
                  <c:v>56.0</c:v>
                </c:pt>
                <c:pt idx="9">
                  <c:v>57.8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Foglio1!$A$7</c:f>
              <c:strCache>
                <c:ptCount val="1"/>
                <c:pt idx="0">
                  <c:v>France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7:$K$7</c:f>
              <c:numCache>
                <c:formatCode>#,##0.0</c:formatCode>
                <c:ptCount val="10"/>
                <c:pt idx="0">
                  <c:v>63.7</c:v>
                </c:pt>
                <c:pt idx="1">
                  <c:v>64.3</c:v>
                </c:pt>
                <c:pt idx="2">
                  <c:v>64.9</c:v>
                </c:pt>
                <c:pt idx="3">
                  <c:v>64.1</c:v>
                </c:pt>
                <c:pt idx="4">
                  <c:v>64.0</c:v>
                </c:pt>
                <c:pt idx="5">
                  <c:v>63.9</c:v>
                </c:pt>
                <c:pt idx="6">
                  <c:v>64.0</c:v>
                </c:pt>
                <c:pt idx="7">
                  <c:v>64.1</c:v>
                </c:pt>
                <c:pt idx="8">
                  <c:v>64.3</c:v>
                </c:pt>
                <c:pt idx="9">
                  <c:v>64.2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Foglio1!$A$8</c:f>
              <c:strCache>
                <c:ptCount val="1"/>
                <c:pt idx="0">
                  <c:v>Italy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8:$K$8</c:f>
              <c:numCache>
                <c:formatCode>#,##0.0</c:formatCode>
                <c:ptCount val="10"/>
                <c:pt idx="0">
                  <c:v>58.3</c:v>
                </c:pt>
                <c:pt idx="1">
                  <c:v>58.6</c:v>
                </c:pt>
                <c:pt idx="2">
                  <c:v>58.6</c:v>
                </c:pt>
                <c:pt idx="3">
                  <c:v>57.4</c:v>
                </c:pt>
                <c:pt idx="4">
                  <c:v>56.8</c:v>
                </c:pt>
                <c:pt idx="5">
                  <c:v>56.8</c:v>
                </c:pt>
                <c:pt idx="6">
                  <c:v>56.6</c:v>
                </c:pt>
                <c:pt idx="7">
                  <c:v>55.5</c:v>
                </c:pt>
                <c:pt idx="8">
                  <c:v>55.7</c:v>
                </c:pt>
                <c:pt idx="9">
                  <c:v>56.3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Foglio1!$A$9</c:f>
              <c:strCache>
                <c:ptCount val="1"/>
                <c:pt idx="0">
                  <c:v>Netherlands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9:$K$9</c:f>
              <c:numCache>
                <c:formatCode>#,##0.0</c:formatCode>
                <c:ptCount val="10"/>
                <c:pt idx="0">
                  <c:v>74.3</c:v>
                </c:pt>
                <c:pt idx="1">
                  <c:v>76.0</c:v>
                </c:pt>
                <c:pt idx="2">
                  <c:v>77.2</c:v>
                </c:pt>
                <c:pt idx="3">
                  <c:v>77.0</c:v>
                </c:pt>
                <c:pt idx="4">
                  <c:v>74.7</c:v>
                </c:pt>
                <c:pt idx="5">
                  <c:v>74.2</c:v>
                </c:pt>
                <c:pt idx="6">
                  <c:v>74.4</c:v>
                </c:pt>
                <c:pt idx="7">
                  <c:v>73.6</c:v>
                </c:pt>
                <c:pt idx="8">
                  <c:v>73.1</c:v>
                </c:pt>
                <c:pt idx="9">
                  <c:v>74.1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Foglio1!$A$10</c:f>
              <c:strCache>
                <c:ptCount val="1"/>
                <c:pt idx="0">
                  <c:v>Finland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10:$K$10</c:f>
              <c:numCache>
                <c:formatCode>#,##0.0</c:formatCode>
                <c:ptCount val="10"/>
                <c:pt idx="0">
                  <c:v>69.3</c:v>
                </c:pt>
                <c:pt idx="1">
                  <c:v>70.3</c:v>
                </c:pt>
                <c:pt idx="2">
                  <c:v>71.1</c:v>
                </c:pt>
                <c:pt idx="3">
                  <c:v>68.7</c:v>
                </c:pt>
                <c:pt idx="4">
                  <c:v>68.1</c:v>
                </c:pt>
                <c:pt idx="5">
                  <c:v>69.0</c:v>
                </c:pt>
                <c:pt idx="6">
                  <c:v>69.4</c:v>
                </c:pt>
                <c:pt idx="7">
                  <c:v>68.9</c:v>
                </c:pt>
                <c:pt idx="8">
                  <c:v>68.7</c:v>
                </c:pt>
                <c:pt idx="9">
                  <c:v>68.5</c:v>
                </c:pt>
              </c:numCache>
            </c:numRef>
          </c:val>
          <c:smooth val="0"/>
        </c:ser>
        <c:ser>
          <c:idx val="9"/>
          <c:order val="9"/>
          <c:tx>
            <c:strRef>
              <c:f>Foglio1!$A$11</c:f>
              <c:strCache>
                <c:ptCount val="1"/>
                <c:pt idx="0">
                  <c:v>United Kingdom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11:$K$11</c:f>
              <c:numCache>
                <c:formatCode>#,##0.0</c:formatCode>
                <c:ptCount val="10"/>
                <c:pt idx="0">
                  <c:v>71.6</c:v>
                </c:pt>
                <c:pt idx="1">
                  <c:v>71.5</c:v>
                </c:pt>
                <c:pt idx="2">
                  <c:v>71.5</c:v>
                </c:pt>
                <c:pt idx="3">
                  <c:v>69.9</c:v>
                </c:pt>
                <c:pt idx="4">
                  <c:v>69.4</c:v>
                </c:pt>
                <c:pt idx="5">
                  <c:v>69.3</c:v>
                </c:pt>
                <c:pt idx="6">
                  <c:v>69.9</c:v>
                </c:pt>
                <c:pt idx="7">
                  <c:v>70.5</c:v>
                </c:pt>
                <c:pt idx="8">
                  <c:v>71.9</c:v>
                </c:pt>
                <c:pt idx="9">
                  <c:v>72.7</c:v>
                </c:pt>
              </c:numCache>
            </c:numRef>
          </c:val>
          <c:smooth val="0"/>
        </c:ser>
        <c:ser>
          <c:idx val="10"/>
          <c:order val="10"/>
          <c:tx>
            <c:strRef>
              <c:f>Foglio1!$A$12</c:f>
              <c:strCache>
                <c:ptCount val="1"/>
                <c:pt idx="0">
                  <c:v>Ireland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12:$K$12</c:f>
              <c:numCache>
                <c:formatCode>#,##0.0</c:formatCode>
                <c:ptCount val="10"/>
                <c:pt idx="0">
                  <c:v>68.7</c:v>
                </c:pt>
                <c:pt idx="1">
                  <c:v>69.2</c:v>
                </c:pt>
                <c:pt idx="2">
                  <c:v>67.4</c:v>
                </c:pt>
                <c:pt idx="3">
                  <c:v>61.9</c:v>
                </c:pt>
                <c:pt idx="4">
                  <c:v>59.6</c:v>
                </c:pt>
                <c:pt idx="5">
                  <c:v>58.9</c:v>
                </c:pt>
                <c:pt idx="6">
                  <c:v>58.8</c:v>
                </c:pt>
                <c:pt idx="7">
                  <c:v>60.5</c:v>
                </c:pt>
                <c:pt idx="8">
                  <c:v>61.7</c:v>
                </c:pt>
                <c:pt idx="9">
                  <c:v>63.3</c:v>
                </c:pt>
              </c:numCache>
            </c:numRef>
          </c:val>
          <c:smooth val="0"/>
        </c:ser>
        <c:ser>
          <c:idx val="11"/>
          <c:order val="11"/>
          <c:tx>
            <c:strRef>
              <c:f>Foglio1!$A$13</c:f>
              <c:strCache>
                <c:ptCount val="1"/>
                <c:pt idx="0">
                  <c:v>Portugal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13:$K$13</c:f>
              <c:numCache>
                <c:formatCode>#,##0.0</c:formatCode>
                <c:ptCount val="10"/>
                <c:pt idx="0">
                  <c:v>67.6</c:v>
                </c:pt>
                <c:pt idx="1">
                  <c:v>67.6</c:v>
                </c:pt>
                <c:pt idx="2">
                  <c:v>68.0</c:v>
                </c:pt>
                <c:pt idx="3">
                  <c:v>66.1</c:v>
                </c:pt>
                <c:pt idx="4">
                  <c:v>65.3</c:v>
                </c:pt>
                <c:pt idx="5">
                  <c:v>63.8</c:v>
                </c:pt>
                <c:pt idx="6">
                  <c:v>61.4</c:v>
                </c:pt>
                <c:pt idx="7">
                  <c:v>60.6</c:v>
                </c:pt>
                <c:pt idx="8">
                  <c:v>62.6</c:v>
                </c:pt>
                <c:pt idx="9">
                  <c:v>63.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44811864"/>
        <c:axId val="2123570232"/>
      </c:lineChart>
      <c:catAx>
        <c:axId val="-2144811864"/>
        <c:scaling>
          <c:orientation val="minMax"/>
        </c:scaling>
        <c:delete val="0"/>
        <c:axPos val="b"/>
        <c:majorTickMark val="out"/>
        <c:minorTickMark val="none"/>
        <c:tickLblPos val="nextTo"/>
        <c:crossAx val="2123570232"/>
        <c:crosses val="autoZero"/>
        <c:auto val="1"/>
        <c:lblAlgn val="ctr"/>
        <c:lblOffset val="100"/>
        <c:noMultiLvlLbl val="0"/>
      </c:catAx>
      <c:valAx>
        <c:axId val="2123570232"/>
        <c:scaling>
          <c:orientation val="minMax"/>
          <c:min val="50.0"/>
        </c:scaling>
        <c:delete val="0"/>
        <c:axPos val="l"/>
        <c:majorGridlines/>
        <c:numFmt formatCode="#,##0.0" sourceLinked="1"/>
        <c:majorTickMark val="out"/>
        <c:minorTickMark val="none"/>
        <c:tickLblPos val="nextTo"/>
        <c:crossAx val="-2144811864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oglio1!$A$2</c:f>
              <c:strCache>
                <c:ptCount val="1"/>
                <c:pt idx="0">
                  <c:v>European Union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2:$K$2</c:f>
              <c:numCache>
                <c:formatCode>#,##0.0</c:formatCode>
                <c:ptCount val="10"/>
                <c:pt idx="0">
                  <c:v>17.7</c:v>
                </c:pt>
                <c:pt idx="1">
                  <c:v>15.9</c:v>
                </c:pt>
                <c:pt idx="2">
                  <c:v>15.9</c:v>
                </c:pt>
                <c:pt idx="3">
                  <c:v>20.3</c:v>
                </c:pt>
                <c:pt idx="4">
                  <c:v>21.4</c:v>
                </c:pt>
                <c:pt idx="5">
                  <c:v>21.7</c:v>
                </c:pt>
                <c:pt idx="6">
                  <c:v>23.3</c:v>
                </c:pt>
                <c:pt idx="7">
                  <c:v>23.7</c:v>
                </c:pt>
                <c:pt idx="8">
                  <c:v>22.2</c:v>
                </c:pt>
                <c:pt idx="9">
                  <c:v>20.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oglio1!$A$3</c:f>
              <c:strCache>
                <c:ptCount val="1"/>
                <c:pt idx="0">
                  <c:v>Euro area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3:$K$3</c:f>
              <c:numCache>
                <c:formatCode>#,##0.0</c:formatCode>
                <c:ptCount val="10"/>
                <c:pt idx="0">
                  <c:v>17.2</c:v>
                </c:pt>
                <c:pt idx="1">
                  <c:v>15.6</c:v>
                </c:pt>
                <c:pt idx="2">
                  <c:v>16.1</c:v>
                </c:pt>
                <c:pt idx="3">
                  <c:v>20.7</c:v>
                </c:pt>
                <c:pt idx="4">
                  <c:v>21.4</c:v>
                </c:pt>
                <c:pt idx="5">
                  <c:v>21.3</c:v>
                </c:pt>
                <c:pt idx="6">
                  <c:v>23.6</c:v>
                </c:pt>
                <c:pt idx="7">
                  <c:v>24.4</c:v>
                </c:pt>
                <c:pt idx="8">
                  <c:v>23.8</c:v>
                </c:pt>
                <c:pt idx="9">
                  <c:v>22.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oglio1!$A$4</c:f>
              <c:strCache>
                <c:ptCount val="1"/>
                <c:pt idx="0">
                  <c:v>Denmark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4:$K$4</c:f>
              <c:numCache>
                <c:formatCode>#,##0.0</c:formatCode>
                <c:ptCount val="10"/>
                <c:pt idx="0">
                  <c:v>7.7</c:v>
                </c:pt>
                <c:pt idx="1">
                  <c:v>7.5</c:v>
                </c:pt>
                <c:pt idx="2">
                  <c:v>8.0</c:v>
                </c:pt>
                <c:pt idx="3">
                  <c:v>11.8</c:v>
                </c:pt>
                <c:pt idx="4">
                  <c:v>13.9</c:v>
                </c:pt>
                <c:pt idx="5">
                  <c:v>14.2</c:v>
                </c:pt>
                <c:pt idx="6">
                  <c:v>14.1</c:v>
                </c:pt>
                <c:pt idx="7">
                  <c:v>13.0</c:v>
                </c:pt>
                <c:pt idx="8">
                  <c:v>12.6</c:v>
                </c:pt>
                <c:pt idx="9">
                  <c:v>10.8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Foglio1!$A$5</c:f>
              <c:strCache>
                <c:ptCount val="1"/>
                <c:pt idx="0">
                  <c:v>Germany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5:$K$5</c:f>
              <c:numCache>
                <c:formatCode>#,##0.0</c:formatCode>
                <c:ptCount val="10"/>
                <c:pt idx="0">
                  <c:v>13.6</c:v>
                </c:pt>
                <c:pt idx="1">
                  <c:v>11.8</c:v>
                </c:pt>
                <c:pt idx="2">
                  <c:v>10.4</c:v>
                </c:pt>
                <c:pt idx="3">
                  <c:v>11.1</c:v>
                </c:pt>
                <c:pt idx="4">
                  <c:v>9.8</c:v>
                </c:pt>
                <c:pt idx="5">
                  <c:v>8.5</c:v>
                </c:pt>
                <c:pt idx="6">
                  <c:v>8.0</c:v>
                </c:pt>
                <c:pt idx="7">
                  <c:v>7.8</c:v>
                </c:pt>
                <c:pt idx="8">
                  <c:v>7.7</c:v>
                </c:pt>
                <c:pt idx="9">
                  <c:v>7.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Foglio1!$A$6</c:f>
              <c:strCache>
                <c:ptCount val="1"/>
                <c:pt idx="0">
                  <c:v>Spain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6:$K$6</c:f>
              <c:numCache>
                <c:formatCode>#,##0.0</c:formatCode>
                <c:ptCount val="10"/>
                <c:pt idx="0">
                  <c:v>17.9</c:v>
                </c:pt>
                <c:pt idx="1">
                  <c:v>18.1</c:v>
                </c:pt>
                <c:pt idx="2">
                  <c:v>24.5</c:v>
                </c:pt>
                <c:pt idx="3">
                  <c:v>37.7</c:v>
                </c:pt>
                <c:pt idx="4">
                  <c:v>41.5</c:v>
                </c:pt>
                <c:pt idx="5">
                  <c:v>46.2</c:v>
                </c:pt>
                <c:pt idx="6">
                  <c:v>52.9</c:v>
                </c:pt>
                <c:pt idx="7">
                  <c:v>55.5</c:v>
                </c:pt>
                <c:pt idx="8">
                  <c:v>53.2</c:v>
                </c:pt>
                <c:pt idx="9">
                  <c:v>48.3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Foglio1!$A$7</c:f>
              <c:strCache>
                <c:ptCount val="1"/>
                <c:pt idx="0">
                  <c:v>France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7:$K$7</c:f>
              <c:numCache>
                <c:formatCode>#,##0.0</c:formatCode>
                <c:ptCount val="10"/>
                <c:pt idx="0">
                  <c:v>22.0</c:v>
                </c:pt>
                <c:pt idx="1">
                  <c:v>19.5</c:v>
                </c:pt>
                <c:pt idx="2">
                  <c:v>19.0</c:v>
                </c:pt>
                <c:pt idx="3">
                  <c:v>23.6</c:v>
                </c:pt>
                <c:pt idx="4">
                  <c:v>23.3</c:v>
                </c:pt>
                <c:pt idx="5">
                  <c:v>22.7</c:v>
                </c:pt>
                <c:pt idx="6">
                  <c:v>24.4</c:v>
                </c:pt>
                <c:pt idx="7">
                  <c:v>24.9</c:v>
                </c:pt>
                <c:pt idx="8">
                  <c:v>24.3</c:v>
                </c:pt>
                <c:pt idx="9">
                  <c:v>24.7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Foglio1!$A$8</c:f>
              <c:strCache>
                <c:ptCount val="1"/>
                <c:pt idx="0">
                  <c:v>Italy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8:$K$8</c:f>
              <c:numCache>
                <c:formatCode>#,##0.0</c:formatCode>
                <c:ptCount val="10"/>
                <c:pt idx="0">
                  <c:v>21.8</c:v>
                </c:pt>
                <c:pt idx="1">
                  <c:v>20.4</c:v>
                </c:pt>
                <c:pt idx="2">
                  <c:v>21.2</c:v>
                </c:pt>
                <c:pt idx="3">
                  <c:v>25.3</c:v>
                </c:pt>
                <c:pt idx="4">
                  <c:v>27.9</c:v>
                </c:pt>
                <c:pt idx="5">
                  <c:v>29.2</c:v>
                </c:pt>
                <c:pt idx="6">
                  <c:v>35.3</c:v>
                </c:pt>
                <c:pt idx="7">
                  <c:v>40.0</c:v>
                </c:pt>
                <c:pt idx="8">
                  <c:v>42.7</c:v>
                </c:pt>
                <c:pt idx="9">
                  <c:v>40.3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Foglio1!$A$9</c:f>
              <c:strCache>
                <c:ptCount val="1"/>
                <c:pt idx="0">
                  <c:v>Netherlands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9:$K$9</c:f>
              <c:numCache>
                <c:formatCode>#,##0.0</c:formatCode>
                <c:ptCount val="10"/>
                <c:pt idx="0">
                  <c:v>10.0</c:v>
                </c:pt>
                <c:pt idx="1">
                  <c:v>9.4</c:v>
                </c:pt>
                <c:pt idx="2">
                  <c:v>8.6</c:v>
                </c:pt>
                <c:pt idx="3">
                  <c:v>10.2</c:v>
                </c:pt>
                <c:pt idx="4">
                  <c:v>11.1</c:v>
                </c:pt>
                <c:pt idx="5">
                  <c:v>10.0</c:v>
                </c:pt>
                <c:pt idx="6">
                  <c:v>11.7</c:v>
                </c:pt>
                <c:pt idx="7">
                  <c:v>13.2</c:v>
                </c:pt>
                <c:pt idx="8">
                  <c:v>12.7</c:v>
                </c:pt>
                <c:pt idx="9">
                  <c:v>11.3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Foglio1!$A$10</c:f>
              <c:strCache>
                <c:ptCount val="1"/>
                <c:pt idx="0">
                  <c:v>Finland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10:$K$10</c:f>
              <c:numCache>
                <c:formatCode>#,##0.0</c:formatCode>
                <c:ptCount val="10"/>
                <c:pt idx="0">
                  <c:v>18.7</c:v>
                </c:pt>
                <c:pt idx="1">
                  <c:v>16.5</c:v>
                </c:pt>
                <c:pt idx="2">
                  <c:v>16.5</c:v>
                </c:pt>
                <c:pt idx="3">
                  <c:v>21.5</c:v>
                </c:pt>
                <c:pt idx="4">
                  <c:v>21.4</c:v>
                </c:pt>
                <c:pt idx="5">
                  <c:v>20.1</c:v>
                </c:pt>
                <c:pt idx="6">
                  <c:v>19.0</c:v>
                </c:pt>
                <c:pt idx="7">
                  <c:v>19.9</c:v>
                </c:pt>
                <c:pt idx="8">
                  <c:v>20.5</c:v>
                </c:pt>
                <c:pt idx="9">
                  <c:v>22.4</c:v>
                </c:pt>
              </c:numCache>
            </c:numRef>
          </c:val>
          <c:smooth val="0"/>
        </c:ser>
        <c:ser>
          <c:idx val="9"/>
          <c:order val="9"/>
          <c:tx>
            <c:strRef>
              <c:f>Foglio1!$A$11</c:f>
              <c:strCache>
                <c:ptCount val="1"/>
                <c:pt idx="0">
                  <c:v>United Kingdom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11:$K$11</c:f>
              <c:numCache>
                <c:formatCode>#,##0.0</c:formatCode>
                <c:ptCount val="10"/>
                <c:pt idx="0">
                  <c:v>13.9</c:v>
                </c:pt>
                <c:pt idx="1">
                  <c:v>14.3</c:v>
                </c:pt>
                <c:pt idx="2">
                  <c:v>15.0</c:v>
                </c:pt>
                <c:pt idx="3">
                  <c:v>19.1</c:v>
                </c:pt>
                <c:pt idx="4">
                  <c:v>19.9</c:v>
                </c:pt>
                <c:pt idx="5">
                  <c:v>21.3</c:v>
                </c:pt>
                <c:pt idx="6">
                  <c:v>21.2</c:v>
                </c:pt>
                <c:pt idx="7">
                  <c:v>20.7</c:v>
                </c:pt>
                <c:pt idx="8">
                  <c:v>17.0</c:v>
                </c:pt>
                <c:pt idx="9">
                  <c:v>14.6</c:v>
                </c:pt>
              </c:numCache>
            </c:numRef>
          </c:val>
          <c:smooth val="0"/>
        </c:ser>
        <c:ser>
          <c:idx val="10"/>
          <c:order val="10"/>
          <c:tx>
            <c:strRef>
              <c:f>Foglio1!$A$12</c:f>
              <c:strCache>
                <c:ptCount val="1"/>
                <c:pt idx="0">
                  <c:v>Portugal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12:$K$12</c:f>
              <c:numCache>
                <c:formatCode>#,##0.0</c:formatCode>
                <c:ptCount val="10"/>
                <c:pt idx="0">
                  <c:v>21.2</c:v>
                </c:pt>
                <c:pt idx="1">
                  <c:v>21.4</c:v>
                </c:pt>
                <c:pt idx="2">
                  <c:v>21.6</c:v>
                </c:pt>
                <c:pt idx="3">
                  <c:v>25.3</c:v>
                </c:pt>
                <c:pt idx="4">
                  <c:v>28.2</c:v>
                </c:pt>
                <c:pt idx="5">
                  <c:v>30.2</c:v>
                </c:pt>
                <c:pt idx="6">
                  <c:v>38.0</c:v>
                </c:pt>
                <c:pt idx="7">
                  <c:v>38.1</c:v>
                </c:pt>
                <c:pt idx="8">
                  <c:v>34.7</c:v>
                </c:pt>
                <c:pt idx="9">
                  <c:v>32.0</c:v>
                </c:pt>
              </c:numCache>
            </c:numRef>
          </c:val>
          <c:smooth val="0"/>
        </c:ser>
        <c:ser>
          <c:idx val="11"/>
          <c:order val="11"/>
          <c:tx>
            <c:strRef>
              <c:f>Foglio1!$A$13</c:f>
              <c:strCache>
                <c:ptCount val="1"/>
                <c:pt idx="0">
                  <c:v>Ireland</c:v>
                </c:pt>
              </c:strCache>
            </c:strRef>
          </c:tx>
          <c:marker>
            <c:symbol val="none"/>
          </c:marker>
          <c:cat>
            <c:strRef>
              <c:f>Foglio1!$B$1:$K$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Foglio1!$B$13:$K$13</c:f>
              <c:numCache>
                <c:formatCode>#,##0.0</c:formatCode>
                <c:ptCount val="10"/>
                <c:pt idx="0">
                  <c:v>8.7</c:v>
                </c:pt>
                <c:pt idx="1">
                  <c:v>9.1</c:v>
                </c:pt>
                <c:pt idx="2">
                  <c:v>13.3</c:v>
                </c:pt>
                <c:pt idx="3">
                  <c:v>24.0</c:v>
                </c:pt>
                <c:pt idx="4">
                  <c:v>27.6</c:v>
                </c:pt>
                <c:pt idx="5">
                  <c:v>29.1</c:v>
                </c:pt>
                <c:pt idx="6">
                  <c:v>30.4</c:v>
                </c:pt>
                <c:pt idx="7">
                  <c:v>26.8</c:v>
                </c:pt>
                <c:pt idx="8">
                  <c:v>23.9</c:v>
                </c:pt>
                <c:pt idx="9">
                  <c:v>20.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053656"/>
        <c:axId val="-2143902632"/>
      </c:lineChart>
      <c:catAx>
        <c:axId val="2068053656"/>
        <c:scaling>
          <c:orientation val="minMax"/>
        </c:scaling>
        <c:delete val="0"/>
        <c:axPos val="b"/>
        <c:majorTickMark val="out"/>
        <c:minorTickMark val="none"/>
        <c:tickLblPos val="nextTo"/>
        <c:crossAx val="-2143902632"/>
        <c:crosses val="autoZero"/>
        <c:auto val="1"/>
        <c:lblAlgn val="ctr"/>
        <c:lblOffset val="100"/>
        <c:noMultiLvlLbl val="0"/>
      </c:catAx>
      <c:valAx>
        <c:axId val="-2143902632"/>
        <c:scaling>
          <c:orientation val="minMax"/>
        </c:scaling>
        <c:delete val="0"/>
        <c:axPos val="l"/>
        <c:majorGridlines/>
        <c:numFmt formatCode="#,##0.0" sourceLinked="1"/>
        <c:majorTickMark val="out"/>
        <c:minorTickMark val="none"/>
        <c:tickLblPos val="nextTo"/>
        <c:crossAx val="206805365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27/09/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27/09/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408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9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9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9/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9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9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9/16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9/16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9/16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9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smtClean="0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9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mtClean="0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9/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.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4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504" y="3410903"/>
            <a:ext cx="9001249" cy="3447097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Labour </a:t>
            </a:r>
            <a:r>
              <a:rPr lang="en-GB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Market Policies in the European </a:t>
            </a:r>
            <a:r>
              <a:rPr lang="en-GB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ountries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omplementing structural reforms with growth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tefano </a:t>
            </a:r>
            <a:r>
              <a:rPr lang="en-GB" sz="20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acchi</a:t>
            </a:r>
            <a:endParaRPr lang="en-GB" sz="20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/>
            <a:r>
              <a:rPr lang="fr-BE" altLang="en-US" sz="2000" dirty="0" smtClean="0"/>
              <a:t>China</a:t>
            </a:r>
            <a:r>
              <a:rPr lang="fr-BE" altLang="en-US" sz="2000" dirty="0"/>
              <a:t>-EU Social Protection Reform Project (SPRP)</a:t>
            </a:r>
          </a:p>
          <a:p>
            <a:pPr algn="ctr"/>
            <a:r>
              <a:rPr lang="zh-CN" altLang="en-US" sz="2000" dirty="0"/>
              <a:t>中国欧盟社会保障改革项目（</a:t>
            </a:r>
            <a:r>
              <a:rPr lang="en-US" altLang="zh-CN" sz="2000" dirty="0"/>
              <a:t>SPRP</a:t>
            </a:r>
            <a:r>
              <a:rPr lang="zh-CN" altLang="en-US" sz="2000" dirty="0"/>
              <a:t>）</a:t>
            </a:r>
            <a:endParaRPr lang="fr-BE" altLang="en-US" sz="2000" dirty="0"/>
          </a:p>
          <a:p>
            <a:pPr algn="ctr"/>
            <a:r>
              <a:rPr lang="fr-BE" altLang="en-US" sz="2000" dirty="0"/>
              <a:t>2016 High Level Event, Beijing, 28 September 2016</a:t>
            </a:r>
          </a:p>
          <a:p>
            <a:pPr algn="ctr"/>
            <a:r>
              <a:rPr lang="zh-CN" altLang="en-US" sz="2000" dirty="0"/>
              <a:t>2</a:t>
            </a:r>
            <a:r>
              <a:rPr lang="en-US" altLang="zh-CN" sz="2000" dirty="0"/>
              <a:t>016</a:t>
            </a:r>
            <a:r>
              <a:rPr lang="zh-CN" altLang="en-US" sz="2000" dirty="0"/>
              <a:t>高级别会议，北京，</a:t>
            </a:r>
            <a:r>
              <a:rPr lang="en-US" altLang="zh-CN" sz="2000" dirty="0"/>
              <a:t>2016</a:t>
            </a:r>
            <a:r>
              <a:rPr lang="zh-CN" altLang="en-US" sz="2000" dirty="0"/>
              <a:t>年</a:t>
            </a:r>
            <a:r>
              <a:rPr lang="en-US" altLang="zh-CN" sz="2000" dirty="0"/>
              <a:t>9</a:t>
            </a:r>
            <a:r>
              <a:rPr lang="zh-CN" altLang="en-US" sz="2000" dirty="0"/>
              <a:t>月</a:t>
            </a:r>
            <a:r>
              <a:rPr lang="en-US" altLang="zh-CN" sz="2000" dirty="0"/>
              <a:t>28</a:t>
            </a:r>
            <a:r>
              <a:rPr lang="zh-CN" altLang="en-US" sz="2000" dirty="0"/>
              <a:t>日</a:t>
            </a:r>
            <a:endParaRPr lang="fr-BE" altLang="en-US" sz="2000" dirty="0"/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488" y="116632"/>
            <a:ext cx="806489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However, supply side measures alone are not enough</a:t>
            </a:r>
            <a:endParaRPr lang="it-IT" dirty="0"/>
          </a:p>
        </p:txBody>
      </p:sp>
      <p:sp>
        <p:nvSpPr>
          <p:cNvPr id="3" name="Rectangle 4"/>
          <p:cNvSpPr/>
          <p:nvPr/>
        </p:nvSpPr>
        <p:spPr>
          <a:xfrm>
            <a:off x="344488" y="1133356"/>
            <a:ext cx="9200197" cy="57246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tional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ructur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orm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cus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the micro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ve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wer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NAIRU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is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conomic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fficiency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rrec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u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complet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rateg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ed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mplementar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acro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g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sump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led vs export-led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owth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odel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os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untri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r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il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last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rtl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sump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led,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l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cep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Germany (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accaro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ntuss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2016)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mportanc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omestic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man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owth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ro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olicy mix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ructur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orm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av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e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upl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with austerity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press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ublic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vestm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social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vestm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posabl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u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ern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mand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pansionar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iscal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ac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yth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346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488" y="116632"/>
            <a:ext cx="8136904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dirty="0" smtClean="0"/>
              <a:t>Austerity (K. </a:t>
            </a:r>
            <a:r>
              <a:rPr lang="it-IT" dirty="0" err="1" smtClean="0"/>
              <a:t>Armingeon</a:t>
            </a:r>
            <a:r>
              <a:rPr lang="it-IT" dirty="0" smtClean="0"/>
              <a:t> – S. Sacchi, work in progress)</a:t>
            </a:r>
            <a:endParaRPr lang="it-IT" dirty="0"/>
          </a:p>
        </p:txBody>
      </p:sp>
      <p:sp>
        <p:nvSpPr>
          <p:cNvPr id="3" name="Rectangle 4"/>
          <p:cNvSpPr/>
          <p:nvPr/>
        </p:nvSpPr>
        <p:spPr>
          <a:xfrm>
            <a:off x="272480" y="980728"/>
            <a:ext cx="9200197" cy="35548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finition of austerity: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duction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lanned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ructural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imary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deficit/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rease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lanned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ructural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imary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surplus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ECD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untries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ased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IMF Fiscal Monitor data, 270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bservations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iod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010-2015,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fferent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odel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ecifications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ndings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2" name="Tabel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8849188"/>
              </p:ext>
            </p:extLst>
          </p:nvPr>
        </p:nvGraphicFramePr>
        <p:xfrm>
          <a:off x="560512" y="3212976"/>
          <a:ext cx="6603999" cy="25653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1333"/>
                <a:gridCol w="2201333"/>
                <a:gridCol w="2201333"/>
              </a:tblGrid>
              <a:tr h="370840">
                <a:tc>
                  <a:txBody>
                    <a:bodyPr/>
                    <a:lstStyle/>
                    <a:p>
                      <a:r>
                        <a:rPr lang="it-IT" dirty="0" err="1" smtClean="0">
                          <a:latin typeface="+mj-lt"/>
                        </a:rPr>
                        <a:t>Very</a:t>
                      </a:r>
                      <a:r>
                        <a:rPr lang="it-IT" dirty="0" smtClean="0">
                          <a:latin typeface="+mj-lt"/>
                        </a:rPr>
                        <a:t> </a:t>
                      </a:r>
                      <a:r>
                        <a:rPr lang="it-IT" dirty="0" err="1" smtClean="0">
                          <a:latin typeface="+mj-lt"/>
                        </a:rPr>
                        <a:t>robust</a:t>
                      </a:r>
                      <a:endParaRPr lang="it-IT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baseline="0" dirty="0" err="1" smtClean="0">
                          <a:latin typeface="+mj-lt"/>
                        </a:rPr>
                        <a:t>Quite</a:t>
                      </a:r>
                      <a:r>
                        <a:rPr lang="it-IT" baseline="0" dirty="0" smtClean="0">
                          <a:latin typeface="+mj-lt"/>
                        </a:rPr>
                        <a:t> </a:t>
                      </a:r>
                      <a:r>
                        <a:rPr lang="it-IT" baseline="0" dirty="0" err="1" smtClean="0">
                          <a:latin typeface="+mj-lt"/>
                        </a:rPr>
                        <a:t>robust</a:t>
                      </a:r>
                      <a:endParaRPr lang="it-IT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 err="1" smtClean="0">
                          <a:latin typeface="+mj-lt"/>
                        </a:rPr>
                        <a:t>Not</a:t>
                      </a:r>
                      <a:r>
                        <a:rPr lang="it-IT" dirty="0" smtClean="0">
                          <a:latin typeface="+mj-lt"/>
                        </a:rPr>
                        <a:t> </a:t>
                      </a:r>
                      <a:r>
                        <a:rPr lang="it-IT" dirty="0" err="1" smtClean="0">
                          <a:latin typeface="+mj-lt"/>
                        </a:rPr>
                        <a:t>significant</a:t>
                      </a:r>
                      <a:endParaRPr lang="it-IT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Lagged</a:t>
                      </a:r>
                      <a:r>
                        <a:rPr lang="it-IT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 </a:t>
                      </a:r>
                      <a:r>
                        <a:rPr lang="it-IT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primary</a:t>
                      </a:r>
                      <a:r>
                        <a:rPr lang="it-IT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 balance (-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Market pressure (</a:t>
                      </a:r>
                      <a:r>
                        <a:rPr lang="it-IT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interest</a:t>
                      </a:r>
                      <a:r>
                        <a:rPr lang="it-IT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 </a:t>
                      </a:r>
                      <a:r>
                        <a:rPr lang="it-IT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rates</a:t>
                      </a:r>
                      <a:r>
                        <a:rPr lang="it-IT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 on </a:t>
                      </a:r>
                      <a:r>
                        <a:rPr lang="it-IT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sovereign</a:t>
                      </a:r>
                      <a:r>
                        <a:rPr lang="it-IT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 </a:t>
                      </a:r>
                      <a:r>
                        <a:rPr lang="it-IT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debt</a:t>
                      </a:r>
                      <a:r>
                        <a:rPr lang="it-IT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) (+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80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Partisan</a:t>
                      </a:r>
                      <a:r>
                        <a:rPr lang="it-IT" sz="180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 </a:t>
                      </a:r>
                      <a:r>
                        <a:rPr lang="it-IT" sz="1800" kern="12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politics</a:t>
                      </a:r>
                      <a:endParaRPr lang="it-IT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Current</a:t>
                      </a:r>
                      <a:r>
                        <a:rPr lang="it-IT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 account balance (-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Economic</a:t>
                      </a:r>
                      <a:r>
                        <a:rPr lang="it-IT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 </a:t>
                      </a:r>
                      <a:r>
                        <a:rPr lang="it-IT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growth</a:t>
                      </a:r>
                      <a:r>
                        <a:rPr lang="it-IT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 (+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8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Union</a:t>
                      </a:r>
                      <a:r>
                        <a:rPr lang="it-IT" sz="180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 </a:t>
                      </a:r>
                      <a:r>
                        <a:rPr lang="it-IT" sz="1800" kern="12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density</a:t>
                      </a:r>
                      <a:endParaRPr lang="it-IT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Membership</a:t>
                      </a:r>
                      <a:r>
                        <a:rPr lang="it-IT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Verdana" pitchFamily="34" charset="0"/>
                          <a:cs typeface="Verdana" pitchFamily="34" charset="0"/>
                        </a:rPr>
                        <a:t> of the Eurozone (+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>
                        <a:latin typeface="+mj-lt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59200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488" y="116632"/>
            <a:ext cx="820891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dirty="0"/>
              <a:t>Austerity (K. </a:t>
            </a:r>
            <a:r>
              <a:rPr lang="it-IT" dirty="0" err="1"/>
              <a:t>Armingeon</a:t>
            </a:r>
            <a:r>
              <a:rPr lang="it-IT" dirty="0"/>
              <a:t> – S. Sacchi, work </a:t>
            </a:r>
            <a:r>
              <a:rPr lang="it-IT" dirty="0" smtClean="0"/>
              <a:t>in progress</a:t>
            </a:r>
            <a:r>
              <a:rPr lang="it-IT" dirty="0"/>
              <a:t>)</a:t>
            </a:r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8584" y="980728"/>
            <a:ext cx="7579360" cy="4876800"/>
          </a:xfrm>
          <a:prstGeom prst="rect">
            <a:avLst/>
          </a:prstGeom>
        </p:spPr>
      </p:pic>
      <p:sp>
        <p:nvSpPr>
          <p:cNvPr id="8" name="CasellaDiTesto 7"/>
          <p:cNvSpPr txBox="1"/>
          <p:nvPr/>
        </p:nvSpPr>
        <p:spPr>
          <a:xfrm>
            <a:off x="1928664" y="5949280"/>
            <a:ext cx="5760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 smtClean="0"/>
              <a:t>Estimated</a:t>
            </a:r>
            <a:r>
              <a:rPr lang="it-IT" dirty="0" smtClean="0"/>
              <a:t> austerity </a:t>
            </a:r>
            <a:r>
              <a:rPr lang="it-IT" dirty="0" err="1" smtClean="0"/>
              <a:t>based</a:t>
            </a:r>
            <a:r>
              <a:rPr lang="it-IT" dirty="0" smtClean="0"/>
              <a:t> on model 1 (</a:t>
            </a:r>
            <a:r>
              <a:rPr lang="it-IT" dirty="0" err="1" smtClean="0"/>
              <a:t>pooled</a:t>
            </a:r>
            <a:r>
              <a:rPr lang="it-IT" dirty="0" smtClean="0"/>
              <a:t> TSCS)</a:t>
            </a:r>
            <a:endParaRPr lang="it-IT" dirty="0"/>
          </a:p>
        </p:txBody>
      </p:sp>
      <p:sp>
        <p:nvSpPr>
          <p:cNvPr id="9" name="CasellaDiTesto 8"/>
          <p:cNvSpPr txBox="1"/>
          <p:nvPr/>
        </p:nvSpPr>
        <p:spPr>
          <a:xfrm>
            <a:off x="704528" y="2780928"/>
            <a:ext cx="461665" cy="180020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it-IT" dirty="0" smtClean="0"/>
              <a:t>Real austerit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87373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488" y="116632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dirty="0" err="1" smtClean="0"/>
              <a:t>Backlash</a:t>
            </a:r>
            <a:r>
              <a:rPr lang="it-IT" dirty="0" smtClean="0"/>
              <a:t> </a:t>
            </a:r>
            <a:r>
              <a:rPr lang="it-IT" dirty="0" err="1" smtClean="0"/>
              <a:t>all</a:t>
            </a:r>
            <a:r>
              <a:rPr lang="it-IT" dirty="0" smtClean="0"/>
              <a:t> over the EU</a:t>
            </a:r>
            <a:endParaRPr lang="it-IT" dirty="0"/>
          </a:p>
        </p:txBody>
      </p:sp>
      <p:sp>
        <p:nvSpPr>
          <p:cNvPr id="3" name="Rectangle 4"/>
          <p:cNvSpPr/>
          <p:nvPr/>
        </p:nvSpPr>
        <p:spPr>
          <a:xfrm>
            <a:off x="350425" y="1268700"/>
            <a:ext cx="9200197" cy="609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ructur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orm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creat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ser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urtur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vironment</a:t>
            </a:r>
            <a:endParaRPr lang="it-IT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w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ex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litic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mpatienc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Ferrera, 2016)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mpound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echnologic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ng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new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m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work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pportuniti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some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isk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ss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ny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m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social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loc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ser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ntier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ains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orms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w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owth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an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ea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the future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conomic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olicy (and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litic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com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zero sum game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ssive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ugee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low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inforces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ear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itterness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ise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pulism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ros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Europe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ains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omestic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lit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u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so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ains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EU</a:t>
            </a:r>
            <a:endParaRPr lang="it-IT" sz="2000" dirty="0" smtClean="0">
              <a:solidFill>
                <a:srgbClr val="FF0000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1503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488" y="116632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dirty="0" smtClean="0"/>
              <a:t>High time for a </a:t>
            </a:r>
            <a:r>
              <a:rPr lang="it-IT" dirty="0" err="1" smtClean="0"/>
              <a:t>change</a:t>
            </a:r>
            <a:r>
              <a:rPr lang="it-IT" dirty="0" smtClean="0"/>
              <a:t> of </a:t>
            </a:r>
            <a:r>
              <a:rPr lang="it-IT" dirty="0" err="1" smtClean="0"/>
              <a:t>tack</a:t>
            </a:r>
            <a:endParaRPr lang="it-IT" dirty="0"/>
          </a:p>
        </p:txBody>
      </p:sp>
      <p:sp>
        <p:nvSpPr>
          <p:cNvPr id="3" name="Rectangle 4"/>
          <p:cNvSpPr/>
          <p:nvPr/>
        </p:nvSpPr>
        <p:spPr>
          <a:xfrm>
            <a:off x="350425" y="1268700"/>
            <a:ext cx="9200197" cy="47807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Junck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mmission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CB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esid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Draghi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Jackso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ol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August 2014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Japanes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ndrom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ommodat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onetar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olicy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cessar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rviv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ffici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rive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ructur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orm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ust b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ompani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owth-friendly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scal policy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helter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ser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ver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i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with anti-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orm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ntier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itiativ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buil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rust and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legianc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the EU: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n-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uropean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social 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tection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chemes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UB)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viving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chemes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ch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uropean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lobalization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djustment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und</a:t>
            </a:r>
            <a:endParaRPr lang="it-IT" sz="16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raming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Social 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vestment</a:t>
            </a:r>
            <a:r>
              <a:rPr lang="it-IT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normative (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quity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 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ther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n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conomic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erms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16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06076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488" y="116632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dirty="0" smtClean="0"/>
              <a:t>High time for a </a:t>
            </a:r>
            <a:r>
              <a:rPr lang="it-IT" dirty="0" err="1" smtClean="0"/>
              <a:t>change</a:t>
            </a:r>
            <a:r>
              <a:rPr lang="it-IT" dirty="0" smtClean="0"/>
              <a:t> of </a:t>
            </a:r>
            <a:r>
              <a:rPr lang="it-IT" dirty="0" err="1" smtClean="0"/>
              <a:t>tack</a:t>
            </a:r>
            <a:endParaRPr lang="it-IT" dirty="0"/>
          </a:p>
        </p:txBody>
      </p:sp>
      <p:sp>
        <p:nvSpPr>
          <p:cNvPr id="3" name="Rectangle 4"/>
          <p:cNvSpPr/>
          <p:nvPr/>
        </p:nvSpPr>
        <p:spPr>
          <a:xfrm>
            <a:off x="350425" y="1268700"/>
            <a:ext cx="9200197" cy="6222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EU and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ation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welfar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at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re on a “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llis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urs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”, 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xt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ew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ar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e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rucial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the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rvival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the EU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lity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s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wn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right,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ther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n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mply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rket-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k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licy regime (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e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rexi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mplacency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“more 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am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”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an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EU (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lity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oomed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ppor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the EU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il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large in the centre of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litic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ectrum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a normativ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ram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mor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valu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s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coreboard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assur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opl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iv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op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the future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ture-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riendlines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houl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U’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comparativ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dvantag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K.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icolaid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30698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U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mb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at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ft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risis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m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 social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utcome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lect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abou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arket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orm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al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France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alanc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twee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ructur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orm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croeconomic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olicy in the EU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litic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austerity and the future of the EU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Index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488" y="116632"/>
            <a:ext cx="8136904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EU Member States after the </a:t>
            </a:r>
            <a:r>
              <a:rPr lang="en-US" dirty="0" smtClean="0"/>
              <a:t>crisis: child poverty rates</a:t>
            </a:r>
            <a:endParaRPr lang="it-IT" dirty="0"/>
          </a:p>
          <a:p>
            <a:endParaRPr lang="it-IT" dirty="0"/>
          </a:p>
        </p:txBody>
      </p:sp>
      <p:graphicFrame>
        <p:nvGraphicFramePr>
          <p:cNvPr id="7" name="Grafico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4292816"/>
              </p:ext>
            </p:extLst>
          </p:nvPr>
        </p:nvGraphicFramePr>
        <p:xfrm>
          <a:off x="992560" y="1052736"/>
          <a:ext cx="8136904" cy="496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044844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488" y="116632"/>
            <a:ext cx="784887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EU Member States after the crisis: growth rates</a:t>
            </a:r>
            <a:endParaRPr lang="it-IT" dirty="0"/>
          </a:p>
        </p:txBody>
      </p:sp>
      <p:graphicFrame>
        <p:nvGraphicFramePr>
          <p:cNvPr id="8" name="Gra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4788470"/>
              </p:ext>
            </p:extLst>
          </p:nvPr>
        </p:nvGraphicFramePr>
        <p:xfrm>
          <a:off x="1136576" y="1268760"/>
          <a:ext cx="7632848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488" y="116632"/>
            <a:ext cx="8136904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EU Member States after the crisis: employment rates</a:t>
            </a:r>
            <a:endParaRPr lang="it-IT" dirty="0"/>
          </a:p>
        </p:txBody>
      </p:sp>
      <p:graphicFrame>
        <p:nvGraphicFramePr>
          <p:cNvPr id="5" name="Gra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45864152"/>
              </p:ext>
            </p:extLst>
          </p:nvPr>
        </p:nvGraphicFramePr>
        <p:xfrm>
          <a:off x="1136576" y="1196752"/>
          <a:ext cx="7920880" cy="4464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856448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488" y="116632"/>
            <a:ext cx="8136904" cy="72008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sz="2000" dirty="0"/>
              <a:t>EU Member States after the </a:t>
            </a:r>
            <a:r>
              <a:rPr lang="en-US" sz="2000" dirty="0" smtClean="0"/>
              <a:t>crisis: youth unemployment rates</a:t>
            </a:r>
            <a:endParaRPr lang="it-IT" sz="2000" dirty="0"/>
          </a:p>
          <a:p>
            <a:endParaRPr lang="it-IT" dirty="0"/>
          </a:p>
        </p:txBody>
      </p:sp>
      <p:graphicFrame>
        <p:nvGraphicFramePr>
          <p:cNvPr id="5" name="Gra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4064904"/>
              </p:ext>
            </p:extLst>
          </p:nvPr>
        </p:nvGraphicFramePr>
        <p:xfrm>
          <a:off x="1064568" y="1124744"/>
          <a:ext cx="7704856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393332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Relation </a:t>
            </a:r>
            <a:r>
              <a:rPr lang="it-IT" dirty="0" err="1" smtClean="0"/>
              <a:t>between</a:t>
            </a:r>
            <a:r>
              <a:rPr lang="it-IT" dirty="0" smtClean="0"/>
              <a:t> </a:t>
            </a:r>
            <a:r>
              <a:rPr lang="it-IT" dirty="0" err="1" smtClean="0"/>
              <a:t>financial</a:t>
            </a:r>
            <a:r>
              <a:rPr lang="it-IT" dirty="0" smtClean="0"/>
              <a:t> stress and </a:t>
            </a:r>
            <a:r>
              <a:rPr lang="it-IT" dirty="0" err="1" smtClean="0"/>
              <a:t>unemployment</a:t>
            </a:r>
            <a:endParaRPr lang="it-IT" dirty="0"/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400" y="1492250"/>
            <a:ext cx="8585200" cy="3873500"/>
          </a:xfrm>
          <a:prstGeom prst="rect">
            <a:avLst/>
          </a:prstGeom>
        </p:spPr>
      </p:pic>
      <p:sp>
        <p:nvSpPr>
          <p:cNvPr id="4" name="Text Box 9"/>
          <p:cNvSpPr txBox="1">
            <a:spLocks noChangeArrowheads="1"/>
          </p:cNvSpPr>
          <p:nvPr/>
        </p:nvSpPr>
        <p:spPr bwMode="auto">
          <a:xfrm>
            <a:off x="920552" y="6165304"/>
            <a:ext cx="2901288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marL="342900" indent="-342900">
              <a:spcBef>
                <a:spcPct val="50000"/>
              </a:spcBef>
              <a:buClr>
                <a:schemeClr val="tx2"/>
              </a:buClr>
              <a:buSzPct val="80000"/>
            </a:pPr>
            <a:r>
              <a:rPr lang="it-IT" sz="1000" dirty="0">
                <a:solidFill>
                  <a:srgbClr val="003366"/>
                </a:solidFill>
              </a:rPr>
              <a:t>Source:</a:t>
            </a:r>
            <a:r>
              <a:rPr lang="it-IT" sz="1000" dirty="0" smtClean="0">
                <a:solidFill>
                  <a:srgbClr val="003366"/>
                </a:solidFill>
              </a:rPr>
              <a:t> ECB</a:t>
            </a:r>
          </a:p>
          <a:p>
            <a:pPr marL="342900" indent="-342900">
              <a:spcBef>
                <a:spcPct val="50000"/>
              </a:spcBef>
              <a:buClr>
                <a:schemeClr val="tx2"/>
              </a:buClr>
              <a:buSzPct val="80000"/>
              <a:buFont typeface="Wingdings" charset="2"/>
              <a:buNone/>
            </a:pPr>
            <a:endParaRPr lang="it-IT" sz="1000" dirty="0">
              <a:solidFill>
                <a:srgbClr val="0033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767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488" y="116632"/>
            <a:ext cx="7776864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dirty="0" smtClean="0"/>
              <a:t>The standard </a:t>
            </a:r>
            <a:r>
              <a:rPr lang="it-IT" dirty="0" err="1" smtClean="0"/>
              <a:t>diagnosis</a:t>
            </a:r>
            <a:r>
              <a:rPr lang="it-IT" dirty="0" smtClean="0"/>
              <a:t>: </a:t>
            </a:r>
            <a:r>
              <a:rPr lang="it-IT" dirty="0" err="1" smtClean="0"/>
              <a:t>need</a:t>
            </a:r>
            <a:r>
              <a:rPr lang="it-IT" dirty="0" smtClean="0"/>
              <a:t> for </a:t>
            </a:r>
            <a:r>
              <a:rPr lang="it-IT" dirty="0" err="1" smtClean="0"/>
              <a:t>structural</a:t>
            </a:r>
            <a:r>
              <a:rPr lang="it-IT" dirty="0" smtClean="0"/>
              <a:t> </a:t>
            </a:r>
            <a:r>
              <a:rPr lang="it-IT" dirty="0" err="1" smtClean="0"/>
              <a:t>reforms</a:t>
            </a:r>
            <a:endParaRPr lang="it-IT" dirty="0"/>
          </a:p>
        </p:txBody>
      </p:sp>
      <p:sp>
        <p:nvSpPr>
          <p:cNvPr id="3" name="Rectangle 4"/>
          <p:cNvSpPr/>
          <p:nvPr/>
        </p:nvSpPr>
        <p:spPr>
          <a:xfrm>
            <a:off x="344488" y="1199048"/>
            <a:ext cx="9200197" cy="5632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gment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/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ualiz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abo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rket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igh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arrier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entry for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ou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me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kill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igrant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ad to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rapm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erio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job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w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vestm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human capital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ple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kill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 a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ic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ve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a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w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ductivit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owth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u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w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conomic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owth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eract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with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ance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as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welfar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u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abo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rket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a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erio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social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tec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larg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oup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welfare gaps</a:t>
            </a: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99495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488" y="116632"/>
            <a:ext cx="7992888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sz="2200" dirty="0" smtClean="0"/>
              <a:t>Extensive labor market reforms in Spain, Italy and France</a:t>
            </a:r>
            <a:endParaRPr lang="it-IT" sz="2200" dirty="0"/>
          </a:p>
        </p:txBody>
      </p:sp>
      <p:sp>
        <p:nvSpPr>
          <p:cNvPr id="3" name="Rectangle 4"/>
          <p:cNvSpPr/>
          <p:nvPr/>
        </p:nvSpPr>
        <p:spPr>
          <a:xfrm>
            <a:off x="344488" y="908720"/>
            <a:ext cx="9200197" cy="5098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012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al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012 and 2015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rance 2016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k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asi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mis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open-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d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acts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ES, IT, FR)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utt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p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laim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ca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k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case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justifi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missal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ES, IT)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hift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g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argain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los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la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ve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ES, FR;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T)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vest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Activ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abou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arket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lici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IT)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rengthening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afet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t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IT, FR) and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k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m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ore inclusive (IT)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k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r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ernaliz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st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i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havio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IT)</a:t>
            </a:r>
          </a:p>
        </p:txBody>
      </p:sp>
    </p:spTree>
    <p:extLst>
      <p:ext uri="{BB962C8B-B14F-4D97-AF65-F5344CB8AC3E}">
        <p14:creationId xmlns:p14="http://schemas.microsoft.com/office/powerpoint/2010/main" val="18608839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445</TotalTime>
  <Words>883</Words>
  <Application>Microsoft Macintosh PowerPoint</Application>
  <PresentationFormat>A4 (21x29,7 cm)</PresentationFormat>
  <Paragraphs>117</Paragraphs>
  <Slides>15</Slides>
  <Notes>13</Notes>
  <HiddenSlides>0</HiddenSlides>
  <MMClips>0</MMClips>
  <ScaleCrop>false</ScaleCrop>
  <HeadingPairs>
    <vt:vector size="8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5</vt:i4>
      </vt:variant>
      <vt:variant>
        <vt:lpstr>Presentazioni personalizzate</vt:lpstr>
      </vt:variant>
      <vt:variant>
        <vt:i4>1</vt:i4>
      </vt:variant>
    </vt:vector>
  </HeadingPairs>
  <TitlesOfParts>
    <vt:vector size="18" baseType="lpstr">
      <vt:lpstr>SPRP_Correct Power Point Template v1</vt:lpstr>
      <vt:lpstr>think-cell Slide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Relation between financial stress and unemployme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Custom Show 1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stefano sacchi</cp:lastModifiedBy>
  <cp:revision>172</cp:revision>
  <cp:lastPrinted>2015-01-26T19:32:44Z</cp:lastPrinted>
  <dcterms:created xsi:type="dcterms:W3CDTF">2015-09-07T02:11:56Z</dcterms:created>
  <dcterms:modified xsi:type="dcterms:W3CDTF">2016-09-27T03:13:57Z</dcterms:modified>
</cp:coreProperties>
</file>